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39"/>
  </p:notesMasterIdLst>
  <p:handoutMasterIdLst>
    <p:handoutMasterId r:id="rId40"/>
  </p:handoutMasterIdLst>
  <p:sldIdLst>
    <p:sldId id="298" r:id="rId5"/>
    <p:sldId id="372" r:id="rId6"/>
    <p:sldId id="256" r:id="rId7"/>
    <p:sldId id="272" r:id="rId8"/>
    <p:sldId id="273" r:id="rId9"/>
    <p:sldId id="257" r:id="rId10"/>
    <p:sldId id="258" r:id="rId11"/>
    <p:sldId id="259" r:id="rId12"/>
    <p:sldId id="260" r:id="rId13"/>
    <p:sldId id="261" r:id="rId14"/>
    <p:sldId id="262" r:id="rId15"/>
    <p:sldId id="263" r:id="rId16"/>
    <p:sldId id="264" r:id="rId17"/>
    <p:sldId id="265" r:id="rId18"/>
    <p:sldId id="266" r:id="rId19"/>
    <p:sldId id="267" r:id="rId20"/>
    <p:sldId id="268" r:id="rId21"/>
    <p:sldId id="269" r:id="rId22"/>
    <p:sldId id="271" r:id="rId23"/>
    <p:sldId id="374" r:id="rId24"/>
    <p:sldId id="375" r:id="rId25"/>
    <p:sldId id="376" r:id="rId26"/>
    <p:sldId id="377" r:id="rId27"/>
    <p:sldId id="378" r:id="rId28"/>
    <p:sldId id="379" r:id="rId29"/>
    <p:sldId id="380" r:id="rId30"/>
    <p:sldId id="381" r:id="rId31"/>
    <p:sldId id="382" r:id="rId32"/>
    <p:sldId id="383" r:id="rId33"/>
    <p:sldId id="384" r:id="rId34"/>
    <p:sldId id="385" r:id="rId35"/>
    <p:sldId id="386" r:id="rId36"/>
    <p:sldId id="344" r:id="rId37"/>
    <p:sldId id="367" r:id="rId38"/>
  </p:sldIdLst>
  <p:sldSz cx="9756775" cy="7315200"/>
  <p:notesSz cx="7315200" cy="9601200"/>
  <p:custDataLst>
    <p:tags r:id="rId41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728" userDrawn="1">
          <p15:clr>
            <a:srgbClr val="A4A3A4"/>
          </p15:clr>
        </p15:guide>
        <p15:guide id="3" pos="30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28D576-BE1B-4DC7-827F-0A6603A75AC3}" v="19" dt="2020-01-20T15:37:45.2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93" autoAdjust="0"/>
    <p:restoredTop sz="94660"/>
  </p:normalViewPr>
  <p:slideViewPr>
    <p:cSldViewPr showGuides="1">
      <p:cViewPr varScale="1">
        <p:scale>
          <a:sx n="81" d="100"/>
          <a:sy n="81" d="100"/>
        </p:scale>
        <p:origin x="1430" y="62"/>
      </p:cViewPr>
      <p:guideLst>
        <p:guide orient="horz" pos="1728"/>
        <p:guide pos="30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78" d="100"/>
          <a:sy n="78" d="100"/>
        </p:scale>
        <p:origin x="-2034" y="-10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2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20/0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2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20/0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FD4B1-30B5-43B2-9156-2EAE2278D3B0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6469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314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202" y="2362200"/>
            <a:ext cx="8088600" cy="1181862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5468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525202" y="4761723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A1E088C-D94A-4841-8A46-8919DC7E91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5474" y="6858000"/>
            <a:ext cx="265231" cy="223087"/>
            <a:chOff x="3883026" y="2846391"/>
            <a:chExt cx="1381125" cy="1162048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CBA8159-03D9-491F-B1BB-A9AED37C59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9713" y="2846391"/>
              <a:ext cx="1022349" cy="998537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8B6E331-B3F3-4728-A8A8-D39728D5A7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493A8260-E07C-479E-94B4-BE4DD33299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738856FE-10B8-4E0F-90FE-597EE582AF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3A45E9C7-9561-44DF-B8E1-8E0B4CDA1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A48DF34B-0C5E-4870-BC7D-C9508BAF2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F854D2B-82BE-4A8B-96FC-EA54F17DDF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A2B96441-75B3-430A-B5B7-C91188065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3C2212BA-32EE-4A9A-9B86-83CA227C6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57987CCB-158C-426F-B7D2-A4DD3D43F2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AE823292-1277-4D1C-AE08-C56A13A56C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59FF8D8F-C0A0-4711-9932-1C62017E62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73DF46BD-9A35-44D5-805B-2EECF13D23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906DCAF-559E-45A5-B151-F6005D462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28B8D0F4-31CE-442A-A428-E3846E29CC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00D3F498-AD53-414D-805A-4F2A6B236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6A64C349-566F-41EB-9B3F-EE211C898BA2}"/>
              </a:ext>
            </a:extLst>
          </p:cNvPr>
          <p:cNvSpPr txBox="1"/>
          <p:nvPr userDrawn="1"/>
        </p:nvSpPr>
        <p:spPr>
          <a:xfrm>
            <a:off x="816684" y="6877926"/>
            <a:ext cx="419615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600" b="1" baseline="0" dirty="0">
                <a:solidFill>
                  <a:schemeClr val="tx1"/>
                </a:solidFill>
              </a:rPr>
              <a:t>UNITED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r>
              <a:rPr lang="en-US" sz="600" b="1" baseline="0" dirty="0">
                <a:solidFill>
                  <a:schemeClr val="tx1"/>
                </a:solidFill>
              </a:rPr>
              <a:t>NATIONS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endParaRPr lang="en-US" sz="600" b="1" baseline="0" dirty="0">
              <a:solidFill>
                <a:schemeClr val="tx1"/>
              </a:solidFill>
            </a:endParaRPr>
          </a:p>
          <a:p>
            <a:r>
              <a:rPr lang="en-US" sz="600" baseline="0" dirty="0">
                <a:solidFill>
                  <a:schemeClr val="tx1"/>
                </a:solidFill>
              </a:rPr>
              <a:t>DEPARTMENT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F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PERATIONAL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SUPPOR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804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225" y="1836738"/>
            <a:ext cx="8449056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30225" y="2362200"/>
            <a:ext cx="256032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418961" y="2362200"/>
            <a:ext cx="256032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474593" y="2362200"/>
            <a:ext cx="256032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5A3AA65-EA59-4FBF-98C0-2AEFD5896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238" y="765364"/>
            <a:ext cx="8449247" cy="7967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949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225" y="2362200"/>
            <a:ext cx="8293259" cy="400110"/>
          </a:xfrm>
        </p:spPr>
        <p:txBody>
          <a:bodyPr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58935B8-EBE9-429A-8B80-CD9E1C326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3FDA8050-7B30-4EA3-A6AA-78CE566A7B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8DC50A3A-9FCD-4CA3-94B5-611912ED1A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158B34B8-5624-442A-9910-E54FBA6E90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513563" y="6400611"/>
            <a:ext cx="799037" cy="672075"/>
            <a:chOff x="3883026" y="2846388"/>
            <a:chExt cx="1381125" cy="1162051"/>
          </a:xfrm>
          <a:solidFill>
            <a:schemeClr val="tx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4049713" y="2846388"/>
              <a:ext cx="1022350" cy="998538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4"/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8"/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0"/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TextBox 21"/>
          <p:cNvSpPr txBox="1"/>
          <p:nvPr userDrawn="1"/>
        </p:nvSpPr>
        <p:spPr>
          <a:xfrm>
            <a:off x="1388302" y="6448341"/>
            <a:ext cx="4881952" cy="55399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800" b="1" baseline="0" dirty="0">
                <a:solidFill>
                  <a:schemeClr val="tx1"/>
                </a:solidFill>
              </a:rPr>
              <a:t>UNITED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r>
              <a:rPr lang="en-US" sz="1800" b="1" baseline="0" dirty="0">
                <a:solidFill>
                  <a:schemeClr val="tx1"/>
                </a:solidFill>
              </a:rPr>
              <a:t>NATIONS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endParaRPr lang="en-US" sz="1800" b="1" baseline="0" dirty="0">
              <a:solidFill>
                <a:schemeClr val="tx1"/>
              </a:solidFill>
            </a:endParaRPr>
          </a:p>
          <a:p>
            <a:r>
              <a:rPr lang="en-US" sz="1800" baseline="0" dirty="0">
                <a:solidFill>
                  <a:schemeClr val="tx1"/>
                </a:solidFill>
              </a:rPr>
              <a:t>DEPARTMENT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F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PERATIONAL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SUPPORT</a:t>
            </a:r>
          </a:p>
        </p:txBody>
      </p:sp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6AF6E-3020-4DF3-969B-BDA86BA54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C9341-2BCF-4C4D-A205-FCE4E18238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673B51-1B01-4FDA-B92D-D3F4B6B6CD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8C12D-1048-41E2-9F5D-2D1BC3F5774E}" type="datetimeFigureOut">
              <a:rPr lang="en-US" smtClean="0"/>
              <a:t>20/0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A127A4-18CE-49E0-8F33-47E95D009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D545E-B71B-4C79-9F56-C0DFDF561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EAF0A-9643-4182-B96A-ACC957C29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270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758" y="2272454"/>
            <a:ext cx="8293259" cy="15680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63516" y="4145280"/>
            <a:ext cx="6829743" cy="18694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87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7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3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5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1F039C-8831-4B79-A60F-9C771A5BEE84}" type="datetimeFigureOut">
              <a:rPr lang="en-GB" smtClean="0"/>
              <a:t>20/01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EA26F8-EC18-472A-A768-B6B5D62774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51199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1F039C-8831-4B79-A60F-9C771A5BEE84}" type="datetimeFigureOut">
              <a:rPr lang="en-GB" smtClean="0"/>
              <a:t>20/01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EA26F8-EC18-472A-A768-B6B5D62774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242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svg"/><Relationship Id="rId10" Type="http://schemas.openxmlformats.org/officeDocument/2006/relationships/tags" Target="../tags/tag2.xml"/><Relationship Id="rId19" Type="http://schemas.openxmlformats.org/officeDocument/2006/relationships/image" Target="../media/image7.svg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83714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60305" y="146798"/>
            <a:ext cx="694114" cy="638653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225" y="766085"/>
            <a:ext cx="8449247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578" y="1836738"/>
            <a:ext cx="8465610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522136" y="6921079"/>
            <a:ext cx="4440822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rtl="0"/>
            <a:r>
              <a:rPr lang="en-US" sz="1000" b="1" dirty="0"/>
              <a:t>UNITED NATIONS </a:t>
            </a:r>
            <a:r>
              <a:rPr lang="en-US" sz="1000" dirty="0"/>
              <a:t>| </a:t>
            </a:r>
            <a:r>
              <a:rPr lang="en-US" sz="1000" b="0" dirty="0"/>
              <a:t>DEPARTMENT OF OPERATIONAL SUPPOR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30887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2" r:id="rId5"/>
    <p:sldLayoutId id="2147483663" r:id="rId6"/>
    <p:sldLayoutId id="2147483664" r:id="rId7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82880" indent="-18288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b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20624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 userDrawn="1">
          <p15:clr>
            <a:srgbClr val="F26B43"/>
          </p15:clr>
        </p15:guide>
        <p15:guide id="2" pos="604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984" userDrawn="1">
          <p15:clr>
            <a:srgbClr val="F26B43"/>
          </p15:clr>
        </p15:guide>
        <p15:guide id="8" orient="horz" pos="1157" userDrawn="1">
          <p15:clr>
            <a:srgbClr val="F26B43"/>
          </p15:clr>
        </p15:guide>
        <p15:guide id="9" pos="324" userDrawn="1">
          <p15:clr>
            <a:srgbClr val="F26B43"/>
          </p15:clr>
        </p15:guide>
        <p15:guide id="10" pos="5665" userDrawn="1">
          <p15:clr>
            <a:srgbClr val="F26B43"/>
          </p15:clr>
        </p15:guide>
        <p15:guide id="12" orient="horz" pos="3978" userDrawn="1">
          <p15:clr>
            <a:srgbClr val="F26B43"/>
          </p15:clr>
        </p15:guide>
        <p15:guide id="13" orient="horz" pos="3810" userDrawn="1">
          <p15:clr>
            <a:srgbClr val="F26B43"/>
          </p15:clr>
        </p15:guide>
        <p15:guide id="14" orient="horz" pos="3636" userDrawn="1">
          <p15:clr>
            <a:srgbClr val="F26B43"/>
          </p15:clr>
        </p15:guide>
        <p15:guide id="15" orient="horz" pos="1488" userDrawn="1">
          <p15:clr>
            <a:srgbClr val="F26B43"/>
          </p15:clr>
        </p15:guide>
        <p15:guide id="16" pos="2760" userDrawn="1">
          <p15:clr>
            <a:srgbClr val="F26B43"/>
          </p15:clr>
        </p15:guide>
        <p15:guide id="17" pos="3234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microsoft.com/office/2007/relationships/hdphoto" Target="../media/hdphoto1.wdp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F38BF67-C008-4A01-AB0C-422324EE6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698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F38BF67-C008-4A01-AB0C-422324EE6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3E1BF5F-09B6-437C-B25F-A3B49F77AA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FBE890A-8F8B-445F-A55F-8E3CE23C26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1187" y="2971800"/>
            <a:ext cx="6829743" cy="707373"/>
          </a:xfrm>
        </p:spPr>
        <p:txBody>
          <a:bodyPr/>
          <a:lstStyle/>
          <a:p>
            <a:r>
              <a:rPr lang="en-US" sz="4400" dirty="0" err="1">
                <a:solidFill>
                  <a:schemeClr val="tx1"/>
                </a:solidFill>
              </a:rPr>
              <a:t>Espa</a:t>
            </a:r>
            <a:r>
              <a:rPr lang="es-ES" sz="4400" dirty="0" err="1">
                <a:solidFill>
                  <a:schemeClr val="tx1"/>
                </a:solidFill>
              </a:rPr>
              <a:t>ñol</a:t>
            </a:r>
            <a:r>
              <a:rPr lang="es-ES" sz="4400" dirty="0">
                <a:solidFill>
                  <a:schemeClr val="tx1"/>
                </a:solidFill>
              </a:rPr>
              <a:t> Regular 6</a:t>
            </a:r>
            <a:endParaRPr lang="en-US" sz="44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0F06D7-69E3-4EBF-86A4-C9F73C3B4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984" y="4800600"/>
            <a:ext cx="6895599" cy="1268000"/>
          </a:xfrm>
        </p:spPr>
        <p:txBody>
          <a:bodyPr/>
          <a:lstStyle/>
          <a:p>
            <a:r>
              <a:rPr lang="es-ES" dirty="0"/>
              <a:t>Programa de Lenguas y Comunicación de Nueva York</a:t>
            </a:r>
          </a:p>
          <a:p>
            <a:r>
              <a:rPr lang="es-ES" dirty="0"/>
              <a:t>Programa de Español</a:t>
            </a:r>
          </a:p>
          <a:p>
            <a:r>
              <a:rPr lang="es-ES" dirty="0"/>
              <a:t>Prof. Sonia Torres Rubio</a:t>
            </a:r>
          </a:p>
          <a:p>
            <a:r>
              <a:rPr lang="es-ES" dirty="0"/>
              <a:t>Nueva York, 20 de enero de 2020</a:t>
            </a:r>
          </a:p>
          <a:p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63526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Sonia.TorresRubio\Documents\yendo en bici al trabajo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873" y="1137920"/>
            <a:ext cx="6878715" cy="4777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39948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Sonia.TorresRubio\Documents\durmien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347" y="1544320"/>
            <a:ext cx="7190154" cy="40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29056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Sonia.TorresRubio\Documents\conducien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2068" y="1164477"/>
            <a:ext cx="7053846" cy="4576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45963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Sonia.TorresRubio\Documents\leyen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0552" y="1463040"/>
            <a:ext cx="6549036" cy="4358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72077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Sonia.TorresRubio\Documents\yendo en mot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468" y="1438522"/>
            <a:ext cx="6685703" cy="4007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05734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C:\Users\Sonia.TorresRubio\Documents\comprando supermerca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5908" y="1137920"/>
            <a:ext cx="6565029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357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C:\Users\Sonia.TorresRubio\Documents\pedido comid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947" y="243840"/>
            <a:ext cx="3564399" cy="6339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9744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C:\Users\Sonia.TorresRubio\Documents\pedir comid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7427" y="1706880"/>
            <a:ext cx="5608320" cy="420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96933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C:\Users\Sonia.TorresRubio\Documents\hablando por telefon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0227" y="1544320"/>
            <a:ext cx="3901440" cy="4419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2320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C:\Users\Sonia.TorresRubio\Documents\tomando-so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468" y="1788160"/>
            <a:ext cx="6539557" cy="357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9700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0A50F-26EB-4D9C-B875-2F28AD3DB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7" y="533400"/>
            <a:ext cx="8293259" cy="1200329"/>
          </a:xfrm>
        </p:spPr>
        <p:txBody>
          <a:bodyPr/>
          <a:lstStyle/>
          <a:p>
            <a:r>
              <a:rPr lang="es-ES" dirty="0"/>
              <a:t>Texto “¿Qué estaban haciendo cuando robaron?”</a:t>
            </a:r>
            <a:br>
              <a:rPr lang="es-ES" dirty="0"/>
            </a:br>
            <a:r>
              <a:rPr lang="es-ES" dirty="0"/>
              <a:t>Tiempos de pasado</a:t>
            </a:r>
            <a:br>
              <a:rPr lang="es-ES" dirty="0"/>
            </a:br>
            <a:r>
              <a:rPr lang="es-ES" dirty="0">
                <a:solidFill>
                  <a:schemeClr val="accent2"/>
                </a:solidFill>
              </a:rPr>
              <a:t>Cuadernillo 1, pág. 9</a:t>
            </a:r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8F646E-A781-4FA5-9B4A-E49495B8F7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187" y="2209800"/>
            <a:ext cx="8759304" cy="155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2351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Sonia.TorresRubio\Documents\trabajando en la of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219" y="1381760"/>
            <a:ext cx="8091349" cy="4714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86728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Sonia.TorresRubio\Documents\dando una conferenci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0692" y="812800"/>
            <a:ext cx="6869263" cy="5154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06907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Sonia.TorresRubio\Documents\yendo en bici al trabajo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873" y="1137920"/>
            <a:ext cx="6878715" cy="4777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13443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Sonia.TorresRubio\Documents\durmien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347" y="1544320"/>
            <a:ext cx="7190154" cy="40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4277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Sonia.TorresRubio\Documents\conducien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2068" y="1164477"/>
            <a:ext cx="7053846" cy="4576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66274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Sonia.TorresRubio\Documents\leyen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0552" y="1463040"/>
            <a:ext cx="6549036" cy="4358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36573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Sonia.TorresRubio\Documents\yendo en mot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468" y="1438522"/>
            <a:ext cx="6685703" cy="4007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54603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C:\Users\Sonia.TorresRubio\Documents\comprando supermercad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5908" y="1137920"/>
            <a:ext cx="6565029" cy="438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66745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C:\Users\Sonia.TorresRubio\Documents\pedido comid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947" y="243840"/>
            <a:ext cx="3564399" cy="6339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20770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C:\Users\Sonia.TorresRubio\Documents\pedir comid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7427" y="1706880"/>
            <a:ext cx="5608320" cy="420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98997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3107" y="731520"/>
            <a:ext cx="8290560" cy="1568027"/>
          </a:xfrm>
        </p:spPr>
        <p:txBody>
          <a:bodyPr>
            <a:normAutofit/>
          </a:bodyPr>
          <a:lstStyle/>
          <a:p>
            <a:r>
              <a:rPr lang="es-ES" sz="3840" dirty="0"/>
              <a:t>¿Qué estaba haciendo usted en el momento del robo?</a:t>
            </a:r>
            <a:endParaRPr lang="en-GB" sz="3840" dirty="0"/>
          </a:p>
        </p:txBody>
      </p:sp>
      <p:pic>
        <p:nvPicPr>
          <p:cNvPr id="9218" name="Picture 2" descr="C:\Users\Sonia.TorresRubio\Documents\rob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0424" y="2357121"/>
            <a:ext cx="3014603" cy="3089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13102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C:\Users\Sonia.TorresRubio\Documents\hablando por telefon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0227" y="1544320"/>
            <a:ext cx="3901440" cy="4419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49789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C:\Users\Sonia.TorresRubio\Documents\tomando-so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468" y="1788160"/>
            <a:ext cx="6539557" cy="357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95089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30D1EA3-A7D9-4C7A-B54F-CF599780E12C}"/>
              </a:ext>
            </a:extLst>
          </p:cNvPr>
          <p:cNvSpPr/>
          <p:nvPr/>
        </p:nvSpPr>
        <p:spPr>
          <a:xfrm>
            <a:off x="1677987" y="1295400"/>
            <a:ext cx="7162800" cy="5029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b="1" dirty="0">
                <a:solidFill>
                  <a:schemeClr val="tx1"/>
                </a:solidFill>
              </a:rPr>
              <a:t>Posibles respuestas:</a:t>
            </a:r>
          </a:p>
          <a:p>
            <a:pPr marL="457200" indent="-457200">
              <a:buFont typeface="+mj-lt"/>
              <a:buAutoNum type="arabicPeriod"/>
            </a:pPr>
            <a:r>
              <a:rPr lang="es-ES" dirty="0">
                <a:solidFill>
                  <a:schemeClr val="accent5"/>
                </a:solidFill>
              </a:rPr>
              <a:t>Estaba esperando mi vuelo en el aeropuerto.</a:t>
            </a:r>
          </a:p>
          <a:p>
            <a:pPr marL="457200" indent="-457200">
              <a:buFont typeface="+mj-lt"/>
              <a:buAutoNum type="arabicPeriod"/>
            </a:pPr>
            <a:r>
              <a:rPr lang="es-ES" dirty="0">
                <a:solidFill>
                  <a:schemeClr val="accent5"/>
                </a:solidFill>
              </a:rPr>
              <a:t>Estaba mirando/comprando libros en la feria.</a:t>
            </a:r>
          </a:p>
          <a:p>
            <a:pPr marL="457200" indent="-457200">
              <a:buFont typeface="+mj-lt"/>
              <a:buAutoNum type="arabicPeriod"/>
            </a:pPr>
            <a:r>
              <a:rPr lang="es-ES" dirty="0">
                <a:solidFill>
                  <a:schemeClr val="accent5"/>
                </a:solidFill>
              </a:rPr>
              <a:t>Estaba escribiendo/enviando un correo electrónico.</a:t>
            </a:r>
          </a:p>
          <a:p>
            <a:pPr marL="457200" indent="-457200">
              <a:buFont typeface="+mj-lt"/>
              <a:buAutoNum type="arabicPeriod"/>
            </a:pPr>
            <a:r>
              <a:rPr lang="es-ES" dirty="0">
                <a:solidFill>
                  <a:schemeClr val="accent5"/>
                </a:solidFill>
              </a:rPr>
              <a:t>Estaba celebrando un cumpleaños.</a:t>
            </a:r>
          </a:p>
          <a:p>
            <a:pPr marL="457200" indent="-457200">
              <a:buFont typeface="+mj-lt"/>
              <a:buAutoNum type="arabicPeriod"/>
            </a:pPr>
            <a:r>
              <a:rPr lang="es-ES" dirty="0">
                <a:solidFill>
                  <a:schemeClr val="accent5"/>
                </a:solidFill>
              </a:rPr>
              <a:t>Estaba haciendo una presentación en mi oficina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accent5"/>
                </a:solidFill>
              </a:rPr>
              <a:t>Estab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dando</a:t>
            </a:r>
            <a:r>
              <a:rPr lang="en-US" dirty="0">
                <a:solidFill>
                  <a:schemeClr val="accent5"/>
                </a:solidFill>
              </a:rPr>
              <a:t> una </a:t>
            </a:r>
            <a:r>
              <a:rPr lang="en-US" dirty="0" err="1">
                <a:solidFill>
                  <a:schemeClr val="accent5"/>
                </a:solidFill>
              </a:rPr>
              <a:t>clase</a:t>
            </a:r>
            <a:r>
              <a:rPr lang="en-US" dirty="0">
                <a:solidFill>
                  <a:schemeClr val="accent5"/>
                </a:solidFill>
              </a:rPr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accent5"/>
                </a:solidFill>
              </a:rPr>
              <a:t>Estab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yendo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en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bicicleta</a:t>
            </a:r>
            <a:r>
              <a:rPr lang="en-US" dirty="0">
                <a:solidFill>
                  <a:schemeClr val="accent5"/>
                </a:solidFill>
              </a:rPr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accent5"/>
                </a:solidFill>
              </a:rPr>
              <a:t>Estab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durmiendo</a:t>
            </a:r>
            <a:r>
              <a:rPr lang="en-US" dirty="0">
                <a:solidFill>
                  <a:schemeClr val="accent5"/>
                </a:solidFill>
              </a:rPr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accent5"/>
                </a:solidFill>
              </a:rPr>
              <a:t>Estab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conduciendo</a:t>
            </a:r>
            <a:r>
              <a:rPr lang="en-US" dirty="0">
                <a:solidFill>
                  <a:schemeClr val="accent5"/>
                </a:solidFill>
              </a:rPr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accent5"/>
                </a:solidFill>
              </a:rPr>
              <a:t>Estab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leyendo</a:t>
            </a:r>
            <a:r>
              <a:rPr lang="en-US" dirty="0">
                <a:solidFill>
                  <a:schemeClr val="accent5"/>
                </a:solidFill>
              </a:rPr>
              <a:t> el </a:t>
            </a:r>
            <a:r>
              <a:rPr lang="en-US" dirty="0" err="1">
                <a:solidFill>
                  <a:schemeClr val="accent5"/>
                </a:solidFill>
              </a:rPr>
              <a:t>periódico</a:t>
            </a:r>
            <a:r>
              <a:rPr lang="en-US" dirty="0">
                <a:solidFill>
                  <a:schemeClr val="accent5"/>
                </a:solidFill>
              </a:rPr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accent5"/>
                </a:solidFill>
              </a:rPr>
              <a:t>Estab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haciendo</a:t>
            </a:r>
            <a:r>
              <a:rPr lang="en-US" dirty="0">
                <a:solidFill>
                  <a:schemeClr val="accent5"/>
                </a:solidFill>
              </a:rPr>
              <a:t> una </a:t>
            </a:r>
            <a:r>
              <a:rPr lang="en-US" dirty="0" err="1">
                <a:solidFill>
                  <a:schemeClr val="accent5"/>
                </a:solidFill>
              </a:rPr>
              <a:t>rut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en</a:t>
            </a:r>
            <a:r>
              <a:rPr lang="en-US" dirty="0">
                <a:solidFill>
                  <a:schemeClr val="accent5"/>
                </a:solidFill>
              </a:rPr>
              <a:t> moto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accent5"/>
                </a:solidFill>
              </a:rPr>
              <a:t>Estab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pidiendo</a:t>
            </a:r>
            <a:r>
              <a:rPr lang="en-US" dirty="0">
                <a:solidFill>
                  <a:schemeClr val="accent5"/>
                </a:solidFill>
              </a:rPr>
              <a:t> comida por </a:t>
            </a:r>
            <a:r>
              <a:rPr lang="en-US" dirty="0" err="1">
                <a:solidFill>
                  <a:schemeClr val="accent5"/>
                </a:solidFill>
              </a:rPr>
              <a:t>teléfono</a:t>
            </a:r>
            <a:r>
              <a:rPr lang="en-US" dirty="0">
                <a:solidFill>
                  <a:schemeClr val="accent5"/>
                </a:solidFill>
              </a:rPr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accent5"/>
                </a:solidFill>
              </a:rPr>
              <a:t>Estab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comprando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algo</a:t>
            </a:r>
            <a:r>
              <a:rPr lang="en-US" dirty="0">
                <a:solidFill>
                  <a:schemeClr val="accent5"/>
                </a:solidFill>
              </a:rPr>
              <a:t> de comer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accent5"/>
                </a:solidFill>
              </a:rPr>
              <a:t>Estab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hablando</a:t>
            </a:r>
            <a:r>
              <a:rPr lang="en-US" dirty="0">
                <a:solidFill>
                  <a:schemeClr val="accent5"/>
                </a:solidFill>
              </a:rPr>
              <a:t> por </a:t>
            </a:r>
            <a:r>
              <a:rPr lang="en-US" dirty="0" err="1">
                <a:solidFill>
                  <a:schemeClr val="accent5"/>
                </a:solidFill>
              </a:rPr>
              <a:t>teléfono</a:t>
            </a:r>
            <a:r>
              <a:rPr lang="en-US" dirty="0">
                <a:solidFill>
                  <a:schemeClr val="accent5"/>
                </a:solidFill>
              </a:rPr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accent5"/>
                </a:solidFill>
              </a:rPr>
              <a:t>Estab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tomando</a:t>
            </a:r>
            <a:r>
              <a:rPr lang="en-US" dirty="0">
                <a:solidFill>
                  <a:schemeClr val="accent5"/>
                </a:solidFill>
              </a:rPr>
              <a:t> el sol </a:t>
            </a:r>
            <a:r>
              <a:rPr lang="en-US" dirty="0" err="1">
                <a:solidFill>
                  <a:schemeClr val="accent5"/>
                </a:solidFill>
              </a:rPr>
              <a:t>en</a:t>
            </a:r>
            <a:r>
              <a:rPr lang="en-US" dirty="0">
                <a:solidFill>
                  <a:schemeClr val="accent5"/>
                </a:solidFill>
              </a:rPr>
              <a:t> la playa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err="1">
                <a:solidFill>
                  <a:schemeClr val="accent5"/>
                </a:solidFill>
              </a:rPr>
              <a:t>Estaba</a:t>
            </a:r>
            <a:r>
              <a:rPr lang="en-US" dirty="0">
                <a:solidFill>
                  <a:schemeClr val="accent5"/>
                </a:solidFill>
              </a:rPr>
              <a:t> </a:t>
            </a:r>
            <a:r>
              <a:rPr lang="en-US" dirty="0" err="1">
                <a:solidFill>
                  <a:schemeClr val="accent5"/>
                </a:solidFill>
              </a:rPr>
              <a:t>robando</a:t>
            </a:r>
            <a:r>
              <a:rPr lang="en-US" dirty="0">
                <a:solidFill>
                  <a:schemeClr val="accent5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48415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706359B-DD09-4BE1-A7BE-C8BD14136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187" y="725207"/>
            <a:ext cx="6170614" cy="796736"/>
          </a:xfrm>
        </p:spPr>
        <p:txBody>
          <a:bodyPr/>
          <a:lstStyle/>
          <a:p>
            <a:r>
              <a:rPr lang="es-ES" sz="2400" b="0" dirty="0"/>
              <a:t>¿Dudas? ¿Preguntas? ¿Comentarios? </a:t>
            </a:r>
            <a:br>
              <a:rPr lang="es-ES" sz="2400" b="0" dirty="0"/>
            </a:br>
            <a:endParaRPr lang="en-US" sz="2400" dirty="0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A409881D-4130-45DD-A6D6-39D7F78D7C72}"/>
              </a:ext>
            </a:extLst>
          </p:cNvPr>
          <p:cNvSpPr txBox="1">
            <a:spLocks/>
          </p:cNvSpPr>
          <p:nvPr/>
        </p:nvSpPr>
        <p:spPr>
          <a:xfrm>
            <a:off x="534987" y="1490057"/>
            <a:ext cx="9192895" cy="5367943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>
            <a:lvl1pPr algn="l" defTabSz="975482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8" name="Google Shape;278;p10">
            <a:extLst>
              <a:ext uri="{FF2B5EF4-FFF2-40B4-BE49-F238E27FC236}">
                <a16:creationId xmlns:a16="http://schemas.microsoft.com/office/drawing/2014/main" id="{EAEB6143-5351-4B36-81B0-5537E986069B}"/>
              </a:ext>
            </a:extLst>
          </p:cNvPr>
          <p:cNvSpPr/>
          <p:nvPr/>
        </p:nvSpPr>
        <p:spPr>
          <a:xfrm>
            <a:off x="2148224" y="2079677"/>
            <a:ext cx="2829352" cy="4605658"/>
          </a:xfrm>
          <a:prstGeom prst="rect">
            <a:avLst/>
          </a:prstGeom>
          <a:solidFill>
            <a:srgbClr val="FF990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80975" dir="6840000" algn="bl" rotWithShape="0">
              <a:srgbClr val="000000">
                <a:alpha val="49803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s-ES" sz="3600" b="0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¿Preguntas?</a:t>
            </a:r>
            <a:endParaRPr sz="36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6B2BEE9B-02CA-4E46-AA03-8E3610CEA9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8861" y="3016592"/>
            <a:ext cx="2523903" cy="237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4054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1626130" y="2383557"/>
            <a:ext cx="7883826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643552" y="1226092"/>
            <a:ext cx="5246949" cy="8805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M</a:t>
            </a:r>
            <a:r>
              <a:rPr lang="en-US" sz="5122" dirty="0" err="1">
                <a:solidFill>
                  <a:schemeClr val="tx1"/>
                </a:solidFill>
                <a:latin typeface="Century Gothic" panose="020B0502020202020204" pitchFamily="34" charset="0"/>
              </a:rPr>
              <a:t>uchas</a:t>
            </a:r>
            <a:r>
              <a:rPr lang="en-U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 gracias</a:t>
            </a:r>
            <a:endParaRPr lang="en-GB" sz="5122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92355" y="8490756"/>
            <a:ext cx="2276581" cy="508165"/>
          </a:xfrm>
        </p:spPr>
        <p:txBody>
          <a:bodyPr/>
          <a:lstStyle/>
          <a:p>
            <a:fld id="{334706AD-8923-4857-82BC-4E2BB51C8C61}" type="slidenum">
              <a:rPr lang="en-US" altLang="en-US" smtClean="0"/>
              <a:pPr/>
              <a:t>33</a:t>
            </a:fld>
            <a:endParaRPr lang="en-US" altLang="en-US"/>
          </a:p>
        </p:txBody>
      </p:sp>
      <p:grpSp>
        <p:nvGrpSpPr>
          <p:cNvPr id="2" name="Group 1"/>
          <p:cNvGrpSpPr/>
          <p:nvPr/>
        </p:nvGrpSpPr>
        <p:grpSpPr>
          <a:xfrm>
            <a:off x="5203613" y="2763230"/>
            <a:ext cx="3946195" cy="1951355"/>
            <a:chOff x="4439864" y="2038350"/>
            <a:chExt cx="3698354" cy="1828800"/>
          </a:xfrm>
        </p:grpSpPr>
        <p:sp>
          <p:nvSpPr>
            <p:cNvPr id="19" name="AutoShape 14"/>
            <p:cNvSpPr>
              <a:spLocks noChangeArrowheads="1"/>
            </p:cNvSpPr>
            <p:nvPr/>
          </p:nvSpPr>
          <p:spPr bwMode="auto">
            <a:xfrm flipH="1">
              <a:off x="4439864" y="2038350"/>
              <a:ext cx="3637335" cy="1828800"/>
            </a:xfrm>
            <a:prstGeom prst="wedgeRoundRectCallout">
              <a:avLst>
                <a:gd name="adj1" fmla="val 66907"/>
                <a:gd name="adj2" fmla="val 32907"/>
                <a:gd name="adj3" fmla="val 16667"/>
              </a:avLst>
            </a:prstGeom>
            <a:solidFill>
              <a:schemeClr val="tx1">
                <a:lumMod val="20000"/>
                <a:lumOff val="80000"/>
              </a:schemeClr>
            </a:solidFill>
            <a:ln w="4127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en-GB" altLang="en-US" sz="2134" dirty="0"/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4556817" y="2327062"/>
              <a:ext cx="1473200" cy="1317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Gracias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Merci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ar-SA" altLang="en-US" sz="2561" dirty="0">
                  <a:solidFill>
                    <a:schemeClr val="tx1"/>
                  </a:solidFill>
                </a:rPr>
                <a:t>ﺷﻜ</a:t>
              </a:r>
              <a:r>
                <a:rPr lang="ar-SA" altLang="en-US" sz="3415" dirty="0">
                  <a:solidFill>
                    <a:schemeClr val="tx1"/>
                  </a:solidFill>
                </a:rPr>
                <a:t>ﺮﺍ</a:t>
              </a:r>
              <a:r>
                <a:rPr lang="ar-SA" altLang="en-US" sz="3415" dirty="0">
                  <a:solidFill>
                    <a:srgbClr val="6999C9"/>
                  </a:solidFill>
                </a:rPr>
                <a:t>ﹰ</a:t>
              </a:r>
              <a:r>
                <a:rPr lang="en-US" altLang="en-US" sz="3415" dirty="0">
                  <a:solidFill>
                    <a:srgbClr val="6999C9"/>
                  </a:solidFill>
                </a:rPr>
                <a:t> </a:t>
              </a:r>
            </a:p>
          </p:txBody>
        </p:sp>
        <p:sp>
          <p:nvSpPr>
            <p:cNvPr id="21" name="Rectangle 16"/>
            <p:cNvSpPr>
              <a:spLocks noChangeArrowheads="1"/>
            </p:cNvSpPr>
            <p:nvPr/>
          </p:nvSpPr>
          <p:spPr bwMode="auto">
            <a:xfrm>
              <a:off x="6258618" y="2327062"/>
              <a:ext cx="1879600" cy="1194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Thank You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Спасибо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谢谢</a:t>
              </a:r>
            </a:p>
          </p:txBody>
        </p:sp>
      </p:grpSp>
      <p:pic>
        <p:nvPicPr>
          <p:cNvPr id="14" name="Picture 2" descr="C:\Users\chenghui.xu\Desktop\Personal\white_UN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20" y="1141874"/>
            <a:ext cx="1234116" cy="104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354" y="3511248"/>
            <a:ext cx="3333565" cy="266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737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esperando el avión">
            <a:extLst>
              <a:ext uri="{FF2B5EF4-FFF2-40B4-BE49-F238E27FC236}">
                <a16:creationId xmlns:a16="http://schemas.microsoft.com/office/drawing/2014/main" id="{62FC470B-A511-4EC5-94E5-64BCCB19F2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067" y="794831"/>
            <a:ext cx="8410640" cy="5610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56540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age result for desmontando stand en feria libro">
            <a:extLst>
              <a:ext uri="{FF2B5EF4-FFF2-40B4-BE49-F238E27FC236}">
                <a16:creationId xmlns:a16="http://schemas.microsoft.com/office/drawing/2014/main" id="{E3B998C4-1A3F-4641-8538-DFFC8BBD6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107" y="1271694"/>
            <a:ext cx="8491087" cy="4771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59476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Sonia.TorresRubio\Documents\escribiendo un correo electr'onic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227" y="1219201"/>
            <a:ext cx="7662048" cy="508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9330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Sonia.TorresRubio\Documents\celebrando cumplea;o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2067" y="1137921"/>
            <a:ext cx="7152640" cy="4764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35210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Sonia.TorresRubio\Documents\trabajando en la of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219" y="1381760"/>
            <a:ext cx="8091349" cy="4714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57312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Sonia.TorresRubio\Documents\dando una conferenci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0692" y="812800"/>
            <a:ext cx="6869263" cy="5154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9769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92F3AF9F-4725-4D89-A6E1-D6CD67EC1CC9}" vid="{AEE2439E-81F7-49CD-898D-8511187BF3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9B82AF11BF543B627E48F61248C3D" ma:contentTypeVersion="11" ma:contentTypeDescription="Create a new document." ma:contentTypeScope="" ma:versionID="a9758fc1f81afaf579c3b504bca36b06">
  <xsd:schema xmlns:xsd="http://www.w3.org/2001/XMLSchema" xmlns:xs="http://www.w3.org/2001/XMLSchema" xmlns:p="http://schemas.microsoft.com/office/2006/metadata/properties" xmlns:ns3="95e5e678-43ad-40d1-ac60-f89d2cdf5b98" xmlns:ns4="66598c8a-6b47-4fa5-ac2b-785d0e3e46d1" targetNamespace="http://schemas.microsoft.com/office/2006/metadata/properties" ma:root="true" ma:fieldsID="b059851baeae712ac0f2fe7dfcce9499" ns3:_="" ns4:_="">
    <xsd:import namespace="95e5e678-43ad-40d1-ac60-f89d2cdf5b98"/>
    <xsd:import namespace="66598c8a-6b47-4fa5-ac2b-785d0e3e46d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e5e678-43ad-40d1-ac60-f89d2cdf5b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98c8a-6b47-4fa5-ac2b-785d0e3e46d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F508128-6242-43D6-ADEA-539C461BB2E8}">
  <ds:schemaRefs>
    <ds:schemaRef ds:uri="http://www.w3.org/XML/1998/namespace"/>
    <ds:schemaRef ds:uri="http://purl.org/dc/terms/"/>
    <ds:schemaRef ds:uri="95e5e678-43ad-40d1-ac60-f89d2cdf5b98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6598c8a-6b47-4fa5-ac2b-785d0e3e46d1"/>
  </ds:schemaRefs>
</ds:datastoreItem>
</file>

<file path=customXml/itemProps2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3412572-6CCB-4AC4-B4B3-CB9357CCB1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e5e678-43ad-40d1-ac60-f89d2cdf5b98"/>
    <ds:schemaRef ds:uri="66598c8a-6b47-4fa5-ac2b-785d0e3e46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84</TotalTime>
  <Words>164</Words>
  <Application>Microsoft Office PowerPoint</Application>
  <PresentationFormat>Custom</PresentationFormat>
  <Paragraphs>43</Paragraphs>
  <Slides>3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9" baseType="lpstr">
      <vt:lpstr>Arial</vt:lpstr>
      <vt:lpstr>Calibri</vt:lpstr>
      <vt:lpstr>Century Gothic</vt:lpstr>
      <vt:lpstr>Office Theme</vt:lpstr>
      <vt:lpstr>think-cell Slide</vt:lpstr>
      <vt:lpstr>PowerPoint Presentation</vt:lpstr>
      <vt:lpstr>Texto “¿Qué estaban haciendo cuando robaron?” Tiempos de pasado Cuadernillo 1, pág. 9</vt:lpstr>
      <vt:lpstr>¿Qué estaba haciendo usted en el momento del robo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¿Dudas? ¿Preguntas? ¿Comentarios?  </vt:lpstr>
      <vt:lpstr>PowerPoint Presentation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dad 1. nosotros y nuestros/as compañeros/as</dc:title>
  <dc:creator>Sonia Torres Rubio</dc:creator>
  <cp:lastModifiedBy>Sonia Torres Rubio</cp:lastModifiedBy>
  <cp:revision>120</cp:revision>
  <cp:lastPrinted>2019-03-27T22:41:07Z</cp:lastPrinted>
  <dcterms:created xsi:type="dcterms:W3CDTF">2019-01-17T12:38:58Z</dcterms:created>
  <dcterms:modified xsi:type="dcterms:W3CDTF">2020-01-20T15:3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A9B82AF11BF543B627E48F61248C3D</vt:lpwstr>
  </property>
</Properties>
</file>